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57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2FD8D2-7986-BBCD-10C8-459D594C67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7ACCDC-20CA-0186-F434-154891C623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48714B3-28B5-8B05-17F7-DB24164742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C451A6-85E6-0B43-E10E-119A913E29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8F9D5-63B9-4088-A0EA-655CDC6DDC5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377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4216E7-FD36-F4E1-0C31-C675A1B204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Title 178">
            <a:extLst>
              <a:ext uri="{FF2B5EF4-FFF2-40B4-BE49-F238E27FC236}">
                <a16:creationId xmlns:a16="http://schemas.microsoft.com/office/drawing/2014/main" id="{36F4A494-92F1-490C-2D7E-06A18A86C9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5"/>
          </a:xfrm>
        </p:spPr>
        <p:txBody>
          <a:bodyPr/>
          <a:lstStyle/>
          <a:p>
            <a:r>
              <a:rPr lang="en-US" dirty="0"/>
              <a:t>Three-Column Layou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32DE1CC-D141-84CB-9D49-BC0C649B3604}"/>
              </a:ext>
            </a:extLst>
          </p:cNvPr>
          <p:cNvSpPr/>
          <p:nvPr/>
        </p:nvSpPr>
        <p:spPr>
          <a:xfrm>
            <a:off x="714376" y="1889656"/>
            <a:ext cx="5314950" cy="52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r>
              <a:rPr lang="en-US" sz="2000" b="1" dirty="0"/>
              <a:t>Head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5F13F4D-FFC2-188E-F5F7-D03F37D0C9E9}"/>
              </a:ext>
            </a:extLst>
          </p:cNvPr>
          <p:cNvSpPr/>
          <p:nvPr/>
        </p:nvSpPr>
        <p:spPr>
          <a:xfrm>
            <a:off x="714376" y="2411655"/>
            <a:ext cx="5314950" cy="68244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pendisse dui purus, scelerisque at, vulputate vitae, pretium mattis, nunc. Mauris eget neque at sem venenatis eleifend. Ut nonummy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sce aliquet pede non pede. Suspendisse dapibus lorem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CE02BCC-E440-57AC-D526-FDD0994F732E}"/>
              </a:ext>
            </a:extLst>
          </p:cNvPr>
          <p:cNvSpPr/>
          <p:nvPr/>
        </p:nvSpPr>
        <p:spPr>
          <a:xfrm>
            <a:off x="6486526" y="1889656"/>
            <a:ext cx="5314950" cy="52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r>
              <a:rPr lang="en-US" sz="2000" b="1" dirty="0"/>
              <a:t>Head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0E6FA3D-A96C-F462-E40D-202C09DFF3BB}"/>
              </a:ext>
            </a:extLst>
          </p:cNvPr>
          <p:cNvSpPr/>
          <p:nvPr/>
        </p:nvSpPr>
        <p:spPr>
          <a:xfrm>
            <a:off x="12258675" y="1889656"/>
            <a:ext cx="5314950" cy="52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r>
              <a:rPr lang="en-US" sz="2000" b="1" dirty="0"/>
              <a:t>Head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7C2A532-93DE-A998-0388-3A5104E4E548}"/>
              </a:ext>
            </a:extLst>
          </p:cNvPr>
          <p:cNvSpPr/>
          <p:nvPr/>
        </p:nvSpPr>
        <p:spPr>
          <a:xfrm>
            <a:off x="6486526" y="2411655"/>
            <a:ext cx="5314950" cy="68244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pendisse dui purus, scelerisque at, vulputate vitae, pretium mattis, nunc. Mauris eget neque at sem venenatis eleifend. Ut nonummy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sce aliquet pede non pede. Suspendisse dapibus lorem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580F3C-556D-C54D-F0E0-93E4ECF014BD}"/>
              </a:ext>
            </a:extLst>
          </p:cNvPr>
          <p:cNvSpPr/>
          <p:nvPr/>
        </p:nvSpPr>
        <p:spPr>
          <a:xfrm>
            <a:off x="12258675" y="2411655"/>
            <a:ext cx="5314950" cy="68244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pendisse dui purus, scelerisque at, vulputate vitae, pretium mattis, nunc. Mauris eget neque at sem venenatis eleifend. Ut nonummy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sce aliquet pede non pede. Suspendisse dapibus lore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F46548-41F4-83AE-616A-B5746B289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56158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12</TotalTime>
  <Words>361</Words>
  <Application>Microsoft Office PowerPoint</Application>
  <PresentationFormat>Custom</PresentationFormat>
  <Paragraphs>2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Three-Column Layou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19</cp:revision>
  <dcterms:created xsi:type="dcterms:W3CDTF">2006-08-16T00:00:00Z</dcterms:created>
  <dcterms:modified xsi:type="dcterms:W3CDTF">2025-10-06T09:15:58Z</dcterms:modified>
  <cp:category/>
  <dc:identifier>DAGkDf5R9EM</dc:identifier>
</cp:coreProperties>
</file>